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58" r:id="rId5"/>
    <p:sldId id="283" r:id="rId6"/>
    <p:sldId id="293" r:id="rId7"/>
    <p:sldId id="294" r:id="rId8"/>
    <p:sldId id="295" r:id="rId9"/>
    <p:sldId id="279" r:id="rId10"/>
    <p:sldId id="268" r:id="rId11"/>
    <p:sldId id="288" r:id="rId12"/>
    <p:sldId id="269" r:id="rId13"/>
    <p:sldId id="276" r:id="rId14"/>
    <p:sldId id="296" r:id="rId15"/>
    <p:sldId id="298" r:id="rId16"/>
    <p:sldId id="297" r:id="rId17"/>
    <p:sldId id="299" r:id="rId18"/>
    <p:sldId id="300" r:id="rId19"/>
  </p:sldIdLst>
  <p:sldSz cx="9144000" cy="5143500" type="screen16x9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80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lkinson, Celia" initials="WC" lastIdx="28" clrIdx="0">
    <p:extLst>
      <p:ext uri="{19B8F6BF-5375-455C-9EA6-DF929625EA0E}">
        <p15:presenceInfo xmlns:p15="http://schemas.microsoft.com/office/powerpoint/2012/main" userId="S-1-5-21-11087255-1242584691-1458450816-372828" providerId="AD"/>
      </p:ext>
    </p:extLst>
  </p:cmAuthor>
  <p:cmAuthor id="2" name="Nekola, Angie" initials="NA" lastIdx="11" clrIdx="1">
    <p:extLst>
      <p:ext uri="{19B8F6BF-5375-455C-9EA6-DF929625EA0E}">
        <p15:presenceInfo xmlns:p15="http://schemas.microsoft.com/office/powerpoint/2012/main" userId="S-1-5-21-11087255-1242584691-1458450816-1285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C6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52" autoAdjust="0"/>
    <p:restoredTop sz="92421" autoAdjust="0"/>
  </p:normalViewPr>
  <p:slideViewPr>
    <p:cSldViewPr snapToGrid="0">
      <p:cViewPr varScale="1">
        <p:scale>
          <a:sx n="140" d="100"/>
          <a:sy n="140" d="100"/>
        </p:scale>
        <p:origin x="912" y="108"/>
      </p:cViewPr>
      <p:guideLst>
        <p:guide orient="horz" pos="1620"/>
        <p:guide pos="2880"/>
        <p:guide orient="horz" pos="8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049A6E-C53B-164F-B0DB-814B8B3E3388}" type="datetimeFigureOut">
              <a:rPr lang="en-US" smtClean="0"/>
              <a:t>09/1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8821B4-B1A2-8F45-8B3F-E76DA525120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94675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CD9A3C-3C4C-BE4E-9E27-70BB02FC4D87}" type="datetimeFigureOut">
              <a:rPr lang="en-US" smtClean="0"/>
              <a:t>09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CF315C-1D3B-A44E-AA91-8E592103A82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968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CF315C-1D3B-A44E-AA91-8E592103A82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7243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CF315C-1D3B-A44E-AA91-8E592103A82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2408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AA07083-136A-2C4D-BFEF-23B28CC51E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28" b="6172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flipV="1">
            <a:off x="1863725" y="3176587"/>
            <a:ext cx="5416550" cy="9096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Verdana Regular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863725" y="1181101"/>
            <a:ext cx="5416550" cy="2047875"/>
          </a:xfrm>
          <a:prstGeom prst="rect">
            <a:avLst/>
          </a:prstGeom>
          <a:solidFill>
            <a:srgbClr val="2A31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Verdana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05000" y="2083141"/>
            <a:ext cx="5334000" cy="1102519"/>
          </a:xfr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v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05000" y="1768816"/>
            <a:ext cx="5334000" cy="314325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6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/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22DA2E5-3B0E-45AC-88A3-889A476054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9398" y="3447159"/>
            <a:ext cx="1825211" cy="378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81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4645836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361906" y="4572000"/>
            <a:ext cx="8420100" cy="215444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US" sz="800" baseline="0" dirty="0"/>
            </a:lvl1pPr>
          </a:lstStyle>
          <a:p>
            <a:pPr marL="0" lvl="0" indent="0">
              <a:buNone/>
            </a:pPr>
            <a:r>
              <a:rPr lang="en-US" dirty="0"/>
              <a:t>Click to edit footer (optional)</a:t>
            </a:r>
          </a:p>
        </p:txBody>
      </p:sp>
    </p:spTree>
    <p:extLst>
      <p:ext uri="{BB962C8B-B14F-4D97-AF65-F5344CB8AC3E}">
        <p14:creationId xmlns:p14="http://schemas.microsoft.com/office/powerpoint/2010/main" val="540562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224079F-CA38-4E4B-A60D-6A5A80A684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28" b="6172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631974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7857" y="2573778"/>
            <a:ext cx="7724621" cy="528653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7857" y="3204809"/>
            <a:ext cx="7724621" cy="31432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/d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1AD4525-4445-4079-8758-A1455E9600E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8181" y="505912"/>
            <a:ext cx="1825211" cy="378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11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2060972"/>
            <a:ext cx="7772400" cy="1021556"/>
          </a:xfrm>
        </p:spPr>
        <p:txBody>
          <a:bodyPr anchor="t"/>
          <a:lstStyle>
            <a:lvl1pPr algn="l">
              <a:defRPr sz="4000" b="1" cap="none"/>
            </a:lvl1pPr>
          </a:lstStyle>
          <a:p>
            <a:r>
              <a:rPr lang="en-US" dirty="0"/>
              <a:t>Divi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935831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rgbClr val="616062"/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6830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linical Title/Divi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06" b="14068"/>
          <a:stretch/>
        </p:blipFill>
        <p:spPr>
          <a:xfrm>
            <a:off x="0" y="-1652"/>
            <a:ext cx="9144000" cy="51451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2872" y="2147420"/>
            <a:ext cx="5334000" cy="528653"/>
          </a:xfrm>
        </p:spPr>
        <p:txBody>
          <a:bodyPr anchor="t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nical Title/Divid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2872" y="2778451"/>
            <a:ext cx="5334000" cy="31432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/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1261A4-AA4B-4A00-A6A7-84A8DC9DA9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95920" y="1718218"/>
            <a:ext cx="1574800" cy="32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29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33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dvisory Title/Divid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usiness-Blue-BG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02" b="20097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6928" y="2147420"/>
            <a:ext cx="5334000" cy="528653"/>
          </a:xfrm>
        </p:spPr>
        <p:txBody>
          <a:bodyPr anchor="t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visor Title/Divid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928" y="2778451"/>
            <a:ext cx="5334000" cy="31432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/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9F6D4A5-759A-4DFA-93B9-38F6F7052F6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95920" y="1718218"/>
            <a:ext cx="1574800" cy="32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020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dvisory Title/Divid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dvising-Blue-BG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94" b="17805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6928" y="2147420"/>
            <a:ext cx="5334000" cy="528653"/>
          </a:xfrm>
        </p:spPr>
        <p:txBody>
          <a:bodyPr anchor="t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Advisor Title/Divide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928" y="2778451"/>
            <a:ext cx="5334000" cy="31432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/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C634DF-EC3F-4D43-A4E3-A3C992AD89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95920" y="1718218"/>
            <a:ext cx="1574800" cy="32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54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363625" y="1118938"/>
            <a:ext cx="8419429" cy="33673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361994" y="792504"/>
            <a:ext cx="8420015" cy="290578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338129" indent="0">
              <a:buNone/>
              <a:defRPr sz="1200"/>
            </a:lvl2pPr>
            <a:lvl3pPr marL="628635" indent="0">
              <a:buNone/>
              <a:defRPr sz="1200"/>
            </a:lvl3pPr>
            <a:lvl4pPr marL="858816" indent="0">
              <a:buNone/>
              <a:defRPr sz="1200"/>
            </a:lvl4pPr>
            <a:lvl5pPr marL="1088998" indent="0">
              <a:buNone/>
              <a:defRPr sz="1200"/>
            </a:lvl5pPr>
          </a:lstStyle>
          <a:p>
            <a:pPr lvl="0"/>
            <a:r>
              <a:rPr lang="en-US" dirty="0"/>
              <a:t>Click to edit sub-header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361906" y="4572000"/>
            <a:ext cx="8420100" cy="215444"/>
          </a:xfrm>
        </p:spPr>
        <p:txBody>
          <a:bodyPr anchor="b">
            <a:spAutoFit/>
          </a:bodyPr>
          <a:lstStyle>
            <a:lvl1pPr marL="0" indent="0">
              <a:buNone/>
              <a:defRPr sz="800" baseline="0"/>
            </a:lvl1pPr>
            <a:lvl2pPr marL="338129" indent="0">
              <a:buNone/>
              <a:defRPr sz="800"/>
            </a:lvl2pPr>
            <a:lvl3pPr marL="628635" indent="0">
              <a:buNone/>
              <a:defRPr sz="800"/>
            </a:lvl3pPr>
            <a:lvl4pPr marL="858816" indent="0">
              <a:buNone/>
              <a:defRPr sz="800"/>
            </a:lvl4pPr>
            <a:lvl5pPr marL="1088998" indent="0">
              <a:buNone/>
              <a:defRPr sz="800"/>
            </a:lvl5pPr>
          </a:lstStyle>
          <a:p>
            <a:pPr lvl="0"/>
            <a:r>
              <a:rPr lang="en-US" dirty="0"/>
              <a:t>Click to edit footer (optional)</a:t>
            </a:r>
          </a:p>
        </p:txBody>
      </p:sp>
    </p:spTree>
    <p:extLst>
      <p:ext uri="{BB962C8B-B14F-4D97-AF65-F5344CB8AC3E}">
        <p14:creationId xmlns:p14="http://schemas.microsoft.com/office/powerpoint/2010/main" val="38585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626" y="125772"/>
            <a:ext cx="8419429" cy="61952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3" y="1118938"/>
            <a:ext cx="4138028" cy="40895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header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363625" y="1118937"/>
            <a:ext cx="4136403" cy="40734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header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61415" y="1610881"/>
            <a:ext cx="4138613" cy="293489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7"/>
          </p:nvPr>
        </p:nvSpPr>
        <p:spPr>
          <a:xfrm>
            <a:off x="4645024" y="1610743"/>
            <a:ext cx="4138613" cy="293489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61994" y="792504"/>
            <a:ext cx="8420015" cy="290578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338129" indent="0">
              <a:buNone/>
              <a:defRPr sz="1200"/>
            </a:lvl2pPr>
            <a:lvl3pPr marL="628635" indent="0">
              <a:buNone/>
              <a:defRPr sz="1200"/>
            </a:lvl3pPr>
            <a:lvl4pPr marL="858816" indent="0">
              <a:buNone/>
              <a:defRPr sz="1200"/>
            </a:lvl4pPr>
            <a:lvl5pPr marL="1088998" indent="0">
              <a:buNone/>
              <a:defRPr sz="1200"/>
            </a:lvl5pPr>
          </a:lstStyle>
          <a:p>
            <a:pPr lvl="0"/>
            <a:r>
              <a:rPr lang="en-US" dirty="0"/>
              <a:t>Click to edit sub-header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361906" y="4572000"/>
            <a:ext cx="8420100" cy="215444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US" sz="800" baseline="0" dirty="0"/>
            </a:lvl1pPr>
          </a:lstStyle>
          <a:p>
            <a:pPr marL="0" lvl="0" indent="0">
              <a:buNone/>
            </a:pPr>
            <a:r>
              <a:rPr lang="en-US" dirty="0"/>
              <a:t>Click to edit footer (optional)</a:t>
            </a:r>
          </a:p>
        </p:txBody>
      </p:sp>
    </p:spTree>
    <p:extLst>
      <p:ext uri="{BB962C8B-B14F-4D97-AF65-F5344CB8AC3E}">
        <p14:creationId xmlns:p14="http://schemas.microsoft.com/office/powerpoint/2010/main" val="303956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305560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361994" y="792504"/>
            <a:ext cx="8420015" cy="290578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338129" indent="0">
              <a:buNone/>
              <a:defRPr sz="1200"/>
            </a:lvl2pPr>
            <a:lvl3pPr marL="628635" indent="0">
              <a:buNone/>
              <a:defRPr sz="1200"/>
            </a:lvl3pPr>
            <a:lvl4pPr marL="858816" indent="0">
              <a:buNone/>
              <a:defRPr sz="1200"/>
            </a:lvl4pPr>
            <a:lvl5pPr marL="1088998" indent="0">
              <a:buNone/>
              <a:defRPr sz="1200"/>
            </a:lvl5pPr>
          </a:lstStyle>
          <a:p>
            <a:pPr lvl="0"/>
            <a:r>
              <a:rPr lang="en-US" dirty="0"/>
              <a:t>Click to edit sub-header (optional)</a:t>
            </a: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361906" y="4572000"/>
            <a:ext cx="8420100" cy="215444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US" sz="800" baseline="0" dirty="0"/>
            </a:lvl1pPr>
          </a:lstStyle>
          <a:p>
            <a:pPr marL="0" lvl="0" indent="0">
              <a:buNone/>
            </a:pPr>
            <a:r>
              <a:rPr lang="en-US" dirty="0"/>
              <a:t>Click to edit footer (optional)</a:t>
            </a:r>
          </a:p>
        </p:txBody>
      </p:sp>
    </p:spTree>
    <p:extLst>
      <p:ext uri="{BB962C8B-B14F-4D97-AF65-F5344CB8AC3E}">
        <p14:creationId xmlns:p14="http://schemas.microsoft.com/office/powerpoint/2010/main" val="2427880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1993025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LUM248 PPT template design_2.jp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9400"/>
            <a:ext cx="9144000" cy="10541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3626" y="125772"/>
            <a:ext cx="8412480" cy="6195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63625" y="916024"/>
            <a:ext cx="8412480" cy="35655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7"/>
          <p:cNvSpPr txBox="1">
            <a:spLocks/>
          </p:cNvSpPr>
          <p:nvPr userDrawn="1"/>
        </p:nvSpPr>
        <p:spPr>
          <a:xfrm>
            <a:off x="85738" y="4877887"/>
            <a:ext cx="3868340" cy="189283"/>
          </a:xfrm>
          <a:prstGeom prst="rect">
            <a:avLst/>
          </a:prstGeom>
        </p:spPr>
        <p:txBody>
          <a:bodyPr lIns="91440" tIns="45720" rIns="91440" bIns="4572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Font typeface="Arial"/>
              <a:buNone/>
            </a:pPr>
            <a:r>
              <a:rPr lang="en-US" sz="700" dirty="0">
                <a:solidFill>
                  <a:schemeClr val="bg2">
                    <a:lumMod val="50000"/>
                  </a:schemeClr>
                </a:solidFill>
                <a:latin typeface="+mn-lt"/>
                <a:ea typeface="Verdana Regular" charset="0"/>
                <a:cs typeface="Verdana"/>
              </a:rPr>
              <a:t>© 2019</a:t>
            </a:r>
            <a:r>
              <a:rPr lang="en-US" sz="700" baseline="0" dirty="0">
                <a:solidFill>
                  <a:schemeClr val="bg2">
                    <a:lumMod val="50000"/>
                  </a:schemeClr>
                </a:solidFill>
                <a:latin typeface="+mn-lt"/>
                <a:ea typeface="Verdana Regular" charset="0"/>
                <a:cs typeface="Verdana"/>
              </a:rPr>
              <a:t> </a:t>
            </a:r>
            <a:r>
              <a:rPr lang="en-US" sz="700" dirty="0">
                <a:solidFill>
                  <a:schemeClr val="bg2">
                    <a:lumMod val="50000"/>
                  </a:schemeClr>
                </a:solidFill>
                <a:latin typeface="+mn-lt"/>
                <a:ea typeface="Verdana Regular" charset="0"/>
                <a:cs typeface="Verdana"/>
              </a:rPr>
              <a:t>Lumeris | Proprietary and Confidential</a:t>
            </a:r>
          </a:p>
        </p:txBody>
      </p:sp>
      <p:sp>
        <p:nvSpPr>
          <p:cNvPr id="10" name="Content Placeholder 7"/>
          <p:cNvSpPr txBox="1">
            <a:spLocks/>
          </p:cNvSpPr>
          <p:nvPr userDrawn="1"/>
        </p:nvSpPr>
        <p:spPr>
          <a:xfrm>
            <a:off x="8141112" y="4877887"/>
            <a:ext cx="342099" cy="189283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/>
              <a:buNone/>
            </a:pPr>
            <a:fld id="{9A33EC9B-C3DD-419B-BF42-6409427B9312}" type="slidenum">
              <a:rPr lang="en-US" sz="700" smtClean="0">
                <a:solidFill>
                  <a:schemeClr val="bg2">
                    <a:lumMod val="50000"/>
                  </a:schemeClr>
                </a:solidFill>
                <a:latin typeface="+mn-lt"/>
                <a:ea typeface="Verdana Regular" charset="0"/>
                <a:cs typeface="Verdana"/>
              </a:rPr>
              <a:pPr marL="0" indent="0" algn="r">
                <a:buFont typeface="Arial"/>
                <a:buNone/>
              </a:pPr>
              <a:t>‹#›</a:t>
            </a:fld>
            <a:endParaRPr lang="en-US" sz="700" dirty="0">
              <a:solidFill>
                <a:schemeClr val="bg2">
                  <a:lumMod val="50000"/>
                </a:schemeClr>
              </a:solidFill>
              <a:latin typeface="+mn-lt"/>
              <a:ea typeface="Verdana Regular" charset="0"/>
              <a:cs typeface="Verdana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148D6B-A575-0D45-8D6D-D93EF4D0A9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3625" y="4572000"/>
            <a:ext cx="8412480" cy="215444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>
              <a:defRPr lang="en-US" sz="800" baseline="0" dirty="0" smtClean="0"/>
            </a:lvl1pPr>
          </a:lstStyle>
          <a:p>
            <a:pPr defTabSz="457189">
              <a:spcBef>
                <a:spcPct val="20000"/>
              </a:spcBef>
              <a:buClr>
                <a:schemeClr val="accent1"/>
              </a:buClr>
            </a:pPr>
            <a:r>
              <a:rPr lang="en-US" dirty="0"/>
              <a:t>Click to edit footer (optional)</a:t>
            </a:r>
          </a:p>
        </p:txBody>
      </p:sp>
    </p:spTree>
    <p:extLst>
      <p:ext uri="{BB962C8B-B14F-4D97-AF65-F5344CB8AC3E}">
        <p14:creationId xmlns:p14="http://schemas.microsoft.com/office/powerpoint/2010/main" val="3753431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3" r:id="rId2"/>
    <p:sldLayoutId id="2147483651" r:id="rId3"/>
    <p:sldLayoutId id="2147483675" r:id="rId4"/>
    <p:sldLayoutId id="2147483676" r:id="rId5"/>
    <p:sldLayoutId id="2147483677" r:id="rId6"/>
    <p:sldLayoutId id="2147483668" r:id="rId7"/>
    <p:sldLayoutId id="2147483653" r:id="rId8"/>
    <p:sldLayoutId id="2147483669" r:id="rId9"/>
    <p:sldLayoutId id="2147483655" r:id="rId1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457189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Verdana"/>
        </a:defRPr>
      </a:lvl1pPr>
    </p:titleStyle>
    <p:bodyStyle>
      <a:lvl1pPr marL="230182" indent="-230182" algn="l" defTabSz="457189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68311" indent="-230182" algn="l" defTabSz="457189" rtl="0" eaLnBrk="1" latinLnBrk="0" hangingPunct="1">
        <a:spcBef>
          <a:spcPct val="20000"/>
        </a:spcBef>
        <a:buFont typeface="Arial" panose="020B0604020202020204" pitchFamily="34" charset="0"/>
        <a:buChar char="−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98493" indent="-169858" algn="l" defTabSz="457189" rtl="0" eaLnBrk="1" latinLnBrk="0" hangingPunct="1">
        <a:spcBef>
          <a:spcPct val="2000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28674" indent="-169858" algn="l" defTabSz="457189" rtl="0" eaLnBrk="1" latinLnBrk="0" hangingPunct="1">
        <a:spcBef>
          <a:spcPct val="20000"/>
        </a:spcBef>
        <a:buFont typeface="Arial" panose="020B0604020202020204" pitchFamily="34" charset="0"/>
        <a:buChar char="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57269" indent="-168270" algn="l" defTabSz="457189" rtl="0" eaLnBrk="1" latinLnBrk="0" hangingPunct="1">
        <a:spcBef>
          <a:spcPct val="20000"/>
        </a:spcBef>
        <a:buFont typeface="Arial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orefront</a:t>
            </a:r>
          </a:p>
        </p:txBody>
      </p:sp>
    </p:spTree>
    <p:extLst>
      <p:ext uri="{BB962C8B-B14F-4D97-AF65-F5344CB8AC3E}">
        <p14:creationId xmlns:p14="http://schemas.microsoft.com/office/powerpoint/2010/main" val="1815915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6400" y="745294"/>
            <a:ext cx="5440362" cy="365085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65667" y="1430867"/>
            <a:ext cx="221826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Follow the steps to complete your order.</a:t>
            </a:r>
          </a:p>
          <a:p>
            <a:endParaRPr lang="en-US" sz="1200" dirty="0"/>
          </a:p>
          <a:p>
            <a:r>
              <a:rPr lang="en-US" sz="1200" dirty="0"/>
              <a:t>Once your address has been provided through the checkout process, it will be stored for future use. </a:t>
            </a:r>
            <a:endParaRPr lang="en-US" dirty="0"/>
          </a:p>
          <a:p>
            <a:r>
              <a:rPr lang="en-US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9472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1891B9-FDC7-4553-9CA3-7130180C53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1991" y="210767"/>
            <a:ext cx="8420015" cy="290578"/>
          </a:xfrm>
        </p:spPr>
        <p:txBody>
          <a:bodyPr/>
          <a:lstStyle/>
          <a:p>
            <a:r>
              <a:rPr lang="en-US" dirty="0"/>
              <a:t>You will get a confirmation page that shows your order has been submitted.</a:t>
            </a:r>
          </a:p>
          <a:p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5126" name="Picture 6" descr="C:\Users\req93771\AppData\Local\Temp\3\SNAGHTML43484a94.PNG">
            <a:extLst>
              <a:ext uri="{FF2B5EF4-FFF2-40B4-BE49-F238E27FC236}">
                <a16:creationId xmlns:a16="http://schemas.microsoft.com/office/drawing/2014/main" id="{09EC4C06-32BF-489F-B94B-7BDA7A9428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09" y="798394"/>
            <a:ext cx="8220898" cy="3279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559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7" name="Picture 7" descr="C:\Users\req93771\AppData\Local\Temp\3\SNAGHTML32c81a9c.PNG">
            <a:extLst>
              <a:ext uri="{FF2B5EF4-FFF2-40B4-BE49-F238E27FC236}">
                <a16:creationId xmlns:a16="http://schemas.microsoft.com/office/drawing/2014/main" id="{436B52FC-9ABB-4C8C-BA31-D74DAB02AA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9988" y="0"/>
            <a:ext cx="4262437" cy="4620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CF531CB-43A0-46A8-8351-080C6D7A38CF}"/>
              </a:ext>
            </a:extLst>
          </p:cNvPr>
          <p:cNvSpPr txBox="1"/>
          <p:nvPr/>
        </p:nvSpPr>
        <p:spPr>
          <a:xfrm>
            <a:off x="221673" y="706582"/>
            <a:ext cx="1828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nce ordered,  you will receive a confirmation email which provides you an invoice of the order. .</a:t>
            </a:r>
          </a:p>
        </p:txBody>
      </p:sp>
    </p:spTree>
    <p:extLst>
      <p:ext uri="{BB962C8B-B14F-4D97-AF65-F5344CB8AC3E}">
        <p14:creationId xmlns:p14="http://schemas.microsoft.com/office/powerpoint/2010/main" val="401351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4C9ED-FACE-435E-8947-8CD7C5BD89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1906" y="210767"/>
            <a:ext cx="8420015" cy="290578"/>
          </a:xfrm>
        </p:spPr>
        <p:txBody>
          <a:bodyPr/>
          <a:lstStyle/>
          <a:p>
            <a:r>
              <a:rPr lang="en-US" dirty="0"/>
              <a:t>To determine your order status you can navigate to your “My Account” and see your order status and history.</a:t>
            </a:r>
          </a:p>
          <a:p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D2CB3C8-6B26-4991-83E0-5FC177C23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332" y="1225481"/>
            <a:ext cx="8471335" cy="2692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59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19495A-0C90-4523-AB21-33A63C1D957E}"/>
              </a:ext>
            </a:extLst>
          </p:cNvPr>
          <p:cNvSpPr txBox="1">
            <a:spLocks/>
          </p:cNvSpPr>
          <p:nvPr/>
        </p:nvSpPr>
        <p:spPr>
          <a:xfrm>
            <a:off x="361906" y="210767"/>
            <a:ext cx="8420015" cy="290578"/>
          </a:xfrm>
          <a:prstGeom prst="rect">
            <a:avLst/>
          </a:prstGeom>
        </p:spPr>
        <p:txBody>
          <a:bodyPr/>
          <a:lstStyle>
            <a:lvl1pPr marL="230182" indent="-230182" algn="l" defTabSz="457189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311" indent="-230182" algn="l" defTabSz="4571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−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493" indent="-169858" algn="l" defTabSz="457189" rtl="0" eaLnBrk="1" latinLnBrk="0" hangingPunct="1">
              <a:spcBef>
                <a:spcPct val="20000"/>
              </a:spcBef>
              <a:buFont typeface="Arial"/>
              <a:buChar char="•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-169858" algn="l" defTabSz="4571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−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269" indent="-168270" algn="l" defTabSz="457189" rtl="0" eaLnBrk="1" latinLnBrk="0" hangingPunct="1">
              <a:spcBef>
                <a:spcPct val="20000"/>
              </a:spcBef>
              <a:buFont typeface="Arial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/>
              <a:t>Order history is then displayed.</a:t>
            </a:r>
            <a:endParaRPr lang="en-US" dirty="0"/>
          </a:p>
        </p:txBody>
      </p:sp>
      <p:pic>
        <p:nvPicPr>
          <p:cNvPr id="5122" name="Picture 2" descr="C:\Users\req93771\AppData\Local\Temp\3\SNAGHTML384d432a.PNG">
            <a:extLst>
              <a:ext uri="{FF2B5EF4-FFF2-40B4-BE49-F238E27FC236}">
                <a16:creationId xmlns:a16="http://schemas.microsoft.com/office/drawing/2014/main" id="{90A8B5AD-B8CB-448D-8F46-766BAAC9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282" y="600199"/>
            <a:ext cx="8404225" cy="3817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631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D30934-4C53-42BB-BECC-E52AB42A69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288" y="1408670"/>
            <a:ext cx="8255424" cy="2569677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FEE9233-F657-4F05-8F55-28460A8F6DB9}"/>
              </a:ext>
            </a:extLst>
          </p:cNvPr>
          <p:cNvSpPr txBox="1">
            <a:spLocks/>
          </p:cNvSpPr>
          <p:nvPr/>
        </p:nvSpPr>
        <p:spPr>
          <a:xfrm>
            <a:off x="361992" y="414654"/>
            <a:ext cx="8420015" cy="290578"/>
          </a:xfrm>
          <a:prstGeom prst="rect">
            <a:avLst/>
          </a:prstGeom>
        </p:spPr>
        <p:txBody>
          <a:bodyPr/>
          <a:lstStyle>
            <a:lvl1pPr marL="230182" indent="-230182" algn="l" defTabSz="457189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311" indent="-230182" algn="l" defTabSz="4571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−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493" indent="-169858" algn="l" defTabSz="457189" rtl="0" eaLnBrk="1" latinLnBrk="0" hangingPunct="1">
              <a:spcBef>
                <a:spcPct val="20000"/>
              </a:spcBef>
              <a:buFont typeface="Arial"/>
              <a:buChar char="•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-169858" algn="l" defTabSz="4571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−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269" indent="-168270" algn="l" defTabSz="457189" rtl="0" eaLnBrk="1" latinLnBrk="0" hangingPunct="1">
              <a:spcBef>
                <a:spcPct val="20000"/>
              </a:spcBef>
              <a:buFont typeface="Arial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F4815C6-9864-4CD7-8E8A-F662F5205F18}"/>
              </a:ext>
            </a:extLst>
          </p:cNvPr>
          <p:cNvSpPr txBox="1">
            <a:spLocks/>
          </p:cNvSpPr>
          <p:nvPr/>
        </p:nvSpPr>
        <p:spPr>
          <a:xfrm>
            <a:off x="361906" y="210767"/>
            <a:ext cx="8420015" cy="290578"/>
          </a:xfrm>
          <a:prstGeom prst="rect">
            <a:avLst/>
          </a:prstGeom>
        </p:spPr>
        <p:txBody>
          <a:bodyPr/>
          <a:lstStyle>
            <a:lvl1pPr marL="230182" indent="-230182" algn="l" defTabSz="457189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311" indent="-230182" algn="l" defTabSz="4571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−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493" indent="-169858" algn="l" defTabSz="457189" rtl="0" eaLnBrk="1" latinLnBrk="0" hangingPunct="1">
              <a:spcBef>
                <a:spcPct val="20000"/>
              </a:spcBef>
              <a:buFont typeface="Arial"/>
              <a:buChar char="•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4" indent="-169858" algn="l" defTabSz="4571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−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269" indent="-168270" algn="l" defTabSz="457189" rtl="0" eaLnBrk="1" latinLnBrk="0" hangingPunct="1">
              <a:spcBef>
                <a:spcPct val="20000"/>
              </a:spcBef>
              <a:buFont typeface="Arial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/>
              <a:t>Here you can configure your billing and delivery address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72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Storefront | Producer or Agency Experience</a:t>
            </a:r>
          </a:p>
        </p:txBody>
      </p:sp>
    </p:spTree>
    <p:extLst>
      <p:ext uri="{BB962C8B-B14F-4D97-AF65-F5344CB8AC3E}">
        <p14:creationId xmlns:p14="http://schemas.microsoft.com/office/powerpoint/2010/main" val="47644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A0A5C5A-4ADA-4D26-ADEB-68B8414764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8073" y="276663"/>
            <a:ext cx="5541817" cy="208553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40D1734-8A12-45FD-8949-D9F6CD8D9239}"/>
              </a:ext>
            </a:extLst>
          </p:cNvPr>
          <p:cNvSpPr txBox="1"/>
          <p:nvPr/>
        </p:nvSpPr>
        <p:spPr>
          <a:xfrm>
            <a:off x="284018" y="595745"/>
            <a:ext cx="14755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Log in to Sales Professional Acces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dirty="0"/>
              <a:t>Click on Product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dirty="0"/>
              <a:t>Medicare Advant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2C1442-5B0E-48A8-BA42-92D35D0515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9528" y="2493818"/>
            <a:ext cx="5798128" cy="18164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F6697DB-9737-4103-B844-9246A6F840F5}"/>
              </a:ext>
            </a:extLst>
          </p:cNvPr>
          <p:cNvSpPr txBox="1"/>
          <p:nvPr/>
        </p:nvSpPr>
        <p:spPr>
          <a:xfrm>
            <a:off x="284018" y="3137733"/>
            <a:ext cx="14755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dirty="0"/>
              <a:t>Click on Medicare Advantage Producer Portal</a:t>
            </a:r>
          </a:p>
        </p:txBody>
      </p:sp>
    </p:spTree>
    <p:extLst>
      <p:ext uri="{BB962C8B-B14F-4D97-AF65-F5344CB8AC3E}">
        <p14:creationId xmlns:p14="http://schemas.microsoft.com/office/powerpoint/2010/main" val="403637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 descr="C:\Users\req93771\AppData\Local\Temp\3\SNAGHTML3063c44f.PNG">
            <a:extLst>
              <a:ext uri="{FF2B5EF4-FFF2-40B4-BE49-F238E27FC236}">
                <a16:creationId xmlns:a16="http://schemas.microsoft.com/office/drawing/2014/main" id="{B8CD3AF6-A755-4829-8F24-50067E33D0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028" y="136478"/>
            <a:ext cx="6709543" cy="424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DFC3F89-6492-4514-A5FA-0725155E4B0D}"/>
              </a:ext>
            </a:extLst>
          </p:cNvPr>
          <p:cNvSpPr txBox="1"/>
          <p:nvPr/>
        </p:nvSpPr>
        <p:spPr>
          <a:xfrm>
            <a:off x="2071428" y="189921"/>
            <a:ext cx="3749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Here you can click on Ready to Sell (RTS) to see your current status.</a:t>
            </a:r>
          </a:p>
        </p:txBody>
      </p:sp>
      <p:sp>
        <p:nvSpPr>
          <p:cNvPr id="2" name="Arrow: Left 1">
            <a:extLst>
              <a:ext uri="{FF2B5EF4-FFF2-40B4-BE49-F238E27FC236}">
                <a16:creationId xmlns:a16="http://schemas.microsoft.com/office/drawing/2014/main" id="{EFD07680-FE45-4668-B9CB-416470A9DB65}"/>
              </a:ext>
            </a:extLst>
          </p:cNvPr>
          <p:cNvSpPr/>
          <p:nvPr/>
        </p:nvSpPr>
        <p:spPr>
          <a:xfrm>
            <a:off x="2674961" y="3916907"/>
            <a:ext cx="382138" cy="225189"/>
          </a:xfrm>
          <a:prstGeom prst="left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784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816EA5-E13A-4ADC-89F3-7DA8B99D17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E89549-4356-4AF0-81D5-B1DF98872D40}"/>
              </a:ext>
            </a:extLst>
          </p:cNvPr>
          <p:cNvSpPr txBox="1"/>
          <p:nvPr/>
        </p:nvSpPr>
        <p:spPr>
          <a:xfrm>
            <a:off x="2261191" y="356056"/>
            <a:ext cx="554310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his screen allows you to see which markets you are RTS in. There is a tab for both 2019 and 2020.</a:t>
            </a:r>
          </a:p>
          <a:p>
            <a:endParaRPr lang="en-US" sz="1000" dirty="0"/>
          </a:p>
          <a:p>
            <a:r>
              <a:rPr lang="en-US" sz="1000" dirty="0"/>
              <a:t>Also by clicking the “Storefront” link, you can go directly to order materials.</a:t>
            </a:r>
          </a:p>
        </p:txBody>
      </p:sp>
      <p:pic>
        <p:nvPicPr>
          <p:cNvPr id="5122" name="Picture 2" descr="C:\Users\req93771\AppData\Local\Temp\3\SNAGHTML385fde59.PNG">
            <a:extLst>
              <a:ext uri="{FF2B5EF4-FFF2-40B4-BE49-F238E27FC236}">
                <a16:creationId xmlns:a16="http://schemas.microsoft.com/office/drawing/2014/main" id="{8FA3F2A0-C452-4842-A308-278EF4471E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1000897"/>
            <a:ext cx="8950325" cy="3855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rrow: Left 6">
            <a:extLst>
              <a:ext uri="{FF2B5EF4-FFF2-40B4-BE49-F238E27FC236}">
                <a16:creationId xmlns:a16="http://schemas.microsoft.com/office/drawing/2014/main" id="{FAA801EA-EF1E-4EF4-AA2A-1DABA2D73011}"/>
              </a:ext>
            </a:extLst>
          </p:cNvPr>
          <p:cNvSpPr/>
          <p:nvPr/>
        </p:nvSpPr>
        <p:spPr>
          <a:xfrm>
            <a:off x="1835624" y="3732663"/>
            <a:ext cx="245660" cy="136477"/>
          </a:xfrm>
          <a:prstGeom prst="left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201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61994" y="150125"/>
            <a:ext cx="8420015" cy="4653887"/>
          </a:xfrm>
        </p:spPr>
        <p:txBody>
          <a:bodyPr/>
          <a:lstStyle/>
          <a:p>
            <a:r>
              <a:rPr lang="en-US" dirty="0"/>
              <a:t>To access the Storefront, click the icon on the portal home pa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B67E33E-C32B-4EB7-AF4A-2B2FA097A6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359" y="767964"/>
            <a:ext cx="7172646" cy="331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942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48733" y="1549400"/>
            <a:ext cx="2607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62599D-36F7-452B-9685-73540543D2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77133"/>
            <a:ext cx="9144000" cy="190258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86C3D4F-03B8-480C-8312-EEA51E8A5E4B}"/>
              </a:ext>
            </a:extLst>
          </p:cNvPr>
          <p:cNvSpPr txBox="1"/>
          <p:nvPr/>
        </p:nvSpPr>
        <p:spPr>
          <a:xfrm>
            <a:off x="1886612" y="54023"/>
            <a:ext cx="53707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Here you can select your market and begin the process to get your materials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0B617A-8A9D-432E-8053-47639AD62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860158"/>
            <a:ext cx="9144000" cy="16746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9DD596A-7D48-4A09-BA51-61C01441970B}"/>
              </a:ext>
            </a:extLst>
          </p:cNvPr>
          <p:cNvSpPr/>
          <p:nvPr/>
        </p:nvSpPr>
        <p:spPr>
          <a:xfrm>
            <a:off x="378724" y="1783872"/>
            <a:ext cx="838654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Once market is selected, material for that area will populate. Some items in each category a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nrollment Materials – Enrollment kits, downloadable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roducer Marketing – Postcards, posters, sales presenta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dvisor Producer Marketing – Specific postcards &amp; posters for Mutual of Omaha Advisors</a:t>
            </a:r>
          </a:p>
        </p:txBody>
      </p:sp>
    </p:spTree>
    <p:extLst>
      <p:ext uri="{BB962C8B-B14F-4D97-AF65-F5344CB8AC3E}">
        <p14:creationId xmlns:p14="http://schemas.microsoft.com/office/powerpoint/2010/main" val="115536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8C33CE1B-029A-4583-A7BD-2EEB4C216429}"/>
              </a:ext>
            </a:extLst>
          </p:cNvPr>
          <p:cNvSpPr txBox="1"/>
          <p:nvPr/>
        </p:nvSpPr>
        <p:spPr>
          <a:xfrm>
            <a:off x="283535" y="404037"/>
            <a:ext cx="3678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nce you have chosen the market you will be navigated to a screen to begin order materials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18DDBD1-2516-44E8-AAF7-B43DB71B48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84719"/>
            <a:ext cx="9144000" cy="325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15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61992" y="247562"/>
            <a:ext cx="8420015" cy="290578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nsert the product quantity, click “Add to Cart”, and then you can proceed to checkout or continue shopping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7CE166-AC1C-4694-8E90-A4E23F91E2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377" y="591443"/>
            <a:ext cx="8854559" cy="396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77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Lumeris Template vF">
  <a:themeElements>
    <a:clrScheme name="Custom 185">
      <a:dk1>
        <a:srgbClr val="616062"/>
      </a:dk1>
      <a:lt1>
        <a:srgbClr val="FFFFFF"/>
      </a:lt1>
      <a:dk2>
        <a:srgbClr val="1F2A44"/>
      </a:dk2>
      <a:lt2>
        <a:srgbClr val="F2F2F2"/>
      </a:lt2>
      <a:accent1>
        <a:srgbClr val="009CDE"/>
      </a:accent1>
      <a:accent2>
        <a:srgbClr val="006C5B"/>
      </a:accent2>
      <a:accent3>
        <a:srgbClr val="6CC24A"/>
      </a:accent3>
      <a:accent4>
        <a:srgbClr val="004C97"/>
      </a:accent4>
      <a:accent5>
        <a:srgbClr val="A4C8E1"/>
      </a:accent5>
      <a:accent6>
        <a:srgbClr val="685BC7"/>
      </a:accent6>
      <a:hlink>
        <a:srgbClr val="685BC7"/>
      </a:hlink>
      <a:folHlink>
        <a:srgbClr val="717073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umeris All - PPT Template WIDE 2019" id="{D55462F5-D8F1-0E4B-9AD8-D0FAE721F444}" vid="{32EE4F00-CD24-814D-A33F-0A5D3DC8635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828D0CEB8B9248986FEB10359FDB9A" ma:contentTypeVersion="12" ma:contentTypeDescription="Create a new document." ma:contentTypeScope="" ma:versionID="8d753de2bec30d9b75f3fbf4b577c41e">
  <xsd:schema xmlns:xsd="http://www.w3.org/2001/XMLSchema" xmlns:xs="http://www.w3.org/2001/XMLSchema" xmlns:p="http://schemas.microsoft.com/office/2006/metadata/properties" xmlns:ns1="http://schemas.microsoft.com/sharepoint/v3" xmlns:ns3="128e0086-110b-41f9-bcab-ba094a49d3ef" xmlns:ns4="4602b21a-13c7-44f0-8c5d-a7c2b16cd6de" targetNamespace="http://schemas.microsoft.com/office/2006/metadata/properties" ma:root="true" ma:fieldsID="78fcc8c6d4c3e7dda3fdebc88b84c889" ns1:_="" ns3:_="" ns4:_="">
    <xsd:import namespace="http://schemas.microsoft.com/sharepoint/v3"/>
    <xsd:import namespace="128e0086-110b-41f9-bcab-ba094a49d3ef"/>
    <xsd:import namespace="4602b21a-13c7-44f0-8c5d-a7c2b16cd6d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1:_ip_UnifiedCompliancePolicyProperties" minOccurs="0"/>
                <xsd:element ref="ns1:_ip_UnifiedCompliancePolicyUIAc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8e0086-110b-41f9-bcab-ba094a49d3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02b21a-13c7-44f0-8c5d-a7c2b16cd6d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D15C25-4FD5-40DA-A325-FFD52B60B610}">
  <ds:schemaRefs>
    <ds:schemaRef ds:uri="http://purl.org/dc/elements/1.1/"/>
    <ds:schemaRef ds:uri="http://schemas.openxmlformats.org/package/2006/metadata/core-properties"/>
    <ds:schemaRef ds:uri="128e0086-110b-41f9-bcab-ba094a49d3ef"/>
    <ds:schemaRef ds:uri="http://schemas.microsoft.com/sharepoint/v3"/>
    <ds:schemaRef ds:uri="4602b21a-13c7-44f0-8c5d-a7c2b16cd6de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1B0C462-5982-4567-A36F-6D819A7D02E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22E11D7-1C0A-4794-84A0-BCB3F5E775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8e0086-110b-41f9-bcab-ba094a49d3ef"/>
    <ds:schemaRef ds:uri="4602b21a-13c7-44f0-8c5d-a7c2b16cd6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umeris All - PPT Template WIDE 2019</Template>
  <TotalTime>15069</TotalTime>
  <Words>300</Words>
  <Application>Microsoft Office PowerPoint</Application>
  <PresentationFormat>On-screen Show (16:9)</PresentationFormat>
  <Paragraphs>34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Verdana</vt:lpstr>
      <vt:lpstr>Verdana Regular</vt:lpstr>
      <vt:lpstr>Wingdings</vt:lpstr>
      <vt:lpstr>2019 Lumeris Template vF</vt:lpstr>
      <vt:lpstr>think-cell Slide</vt:lpstr>
      <vt:lpstr>Storefront</vt:lpstr>
      <vt:lpstr>Storefront | Producer or Agency Experie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umeris Presentation Guidelines</dc:title>
  <dc:creator>Lisa Auger</dc:creator>
  <cp:lastModifiedBy>Burrell-Thiem, Debi</cp:lastModifiedBy>
  <cp:revision>68</cp:revision>
  <dcterms:created xsi:type="dcterms:W3CDTF">2019-01-01T02:15:30Z</dcterms:created>
  <dcterms:modified xsi:type="dcterms:W3CDTF">2019-09-13T12:4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828D0CEB8B9248986FEB10359FDB9A</vt:lpwstr>
  </property>
  <property fmtid="{D5CDD505-2E9C-101B-9397-08002B2CF9AE}" pid="3" name="_dlc_DocIdItemGuid">
    <vt:lpwstr>84cf26ca-9081-4108-8be0-d2ce3b2e8961</vt:lpwstr>
  </property>
</Properties>
</file>